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</p:sldMasterIdLst>
  <p:notesMasterIdLst>
    <p:notesMasterId r:id="rId27"/>
  </p:notesMasterIdLst>
  <p:handoutMasterIdLst>
    <p:handoutMasterId r:id="rId28"/>
  </p:handoutMasterIdLst>
  <p:sldIdLst>
    <p:sldId id="332" r:id="rId8"/>
    <p:sldId id="341" r:id="rId9"/>
    <p:sldId id="342" r:id="rId10"/>
    <p:sldId id="343" r:id="rId11"/>
    <p:sldId id="344" r:id="rId12"/>
    <p:sldId id="345" r:id="rId13"/>
    <p:sldId id="346" r:id="rId14"/>
    <p:sldId id="347" r:id="rId15"/>
    <p:sldId id="348" r:id="rId16"/>
    <p:sldId id="349" r:id="rId17"/>
    <p:sldId id="350" r:id="rId18"/>
    <p:sldId id="351" r:id="rId19"/>
    <p:sldId id="352" r:id="rId20"/>
    <p:sldId id="353" r:id="rId21"/>
    <p:sldId id="354" r:id="rId22"/>
    <p:sldId id="355" r:id="rId23"/>
    <p:sldId id="356" r:id="rId24"/>
    <p:sldId id="340" r:id="rId25"/>
    <p:sldId id="331" r:id="rId26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50"/>
            <p14:sldId id="351"/>
            <p14:sldId id="352"/>
            <p14:sldId id="353"/>
            <p14:sldId id="354"/>
            <p14:sldId id="355"/>
            <p14:sldId id="356"/>
            <p14:sldId id="340"/>
            <p14:sldId id="33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2020"/>
    <a:srgbClr val="389E7E"/>
    <a:srgbClr val="01557E"/>
    <a:srgbClr val="FD7D7B"/>
    <a:srgbClr val="9078FC"/>
    <a:srgbClr val="F5F5F5"/>
    <a:srgbClr val="00FFFD"/>
    <a:srgbClr val="00FFA4"/>
    <a:srgbClr val="E4E4E4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21" autoAdjust="0"/>
    <p:restoredTop sz="96323" autoAdjust="0"/>
  </p:normalViewPr>
  <p:slideViewPr>
    <p:cSldViewPr>
      <p:cViewPr>
        <p:scale>
          <a:sx n="40" d="100"/>
          <a:sy n="40" d="100"/>
        </p:scale>
        <p:origin x="736" y="540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Tue, Jul 21 3:04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Tue, Jul 21 3:04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Tue, Jul 21 3:04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360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Tue, Jul 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700232" y="936198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rogramación funcional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&amp;&amp;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ES6</a:t>
            </a:r>
            <a:endParaRPr lang="es-ES" sz="6119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=3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sh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=[];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044216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32A6D"/>
            </a:gs>
            <a:gs pos="100000">
              <a:srgbClr val="832D9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201399" cy="2932919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6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66854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3291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revious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5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708178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AE67FE"/>
            </a:gs>
            <a:gs pos="100000">
              <a:srgbClr val="65DF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2811462"/>
            <a:ext cx="116585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??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61757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4299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!=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ndefine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1430001" cy="1879041"/>
          </a:xfrm>
          <a:prstGeom prst="rect">
            <a:avLst/>
          </a:prstGeo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891583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FFA4"/>
            </a:gs>
            <a:gs pos="100000">
              <a:srgbClr val="00FFFD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06198" cy="451360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x==1, a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1, b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signación desestructurada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563881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490878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.2.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&gt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 altera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numer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=&gt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la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 lambda con =&gt;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82062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487680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oordenadas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s-E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,z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 smtClean="0"/>
              <a:t> </a:t>
            </a:r>
            <a:endParaRPr lang="es-E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o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of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445584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74679" y="4335462"/>
            <a:ext cx="92681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</a:rPr>
              <a:t>https://github.com/arcadiogarcia/SlushAsAService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32152" y="1564968"/>
            <a:ext cx="8031208" cy="5113426"/>
          </a:xfrm>
        </p:spPr>
        <p:txBody>
          <a:bodyPr/>
          <a:lstStyle/>
          <a:p>
            <a:pPr marL="349724" indent="-349724">
              <a:spcAft>
                <a:spcPts val="1199"/>
              </a:spcAft>
              <a:buAutoNum type="arabicPeriod"/>
            </a:pPr>
            <a:r>
              <a:rPr lang="en-US" sz="3199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https://github.com/getify/You-Dont-Know-J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dvanced JavaScript 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resource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33913859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D3896"/>
            </a:gs>
            <a:gs pos="100000">
              <a:srgbClr val="1CF9FC">
                <a:lumMod val="100000"/>
              </a:srgb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4530471"/>
          </a:xfrm>
        </p:spPr>
        <p:txBody>
          <a:bodyPr/>
          <a:lstStyle/>
          <a:p>
            <a:r>
              <a:rPr lang="es-ES" dirty="0" smtClean="0"/>
              <a:t>Evitar </a:t>
            </a:r>
            <a:r>
              <a:rPr lang="es-ES" dirty="0" err="1" smtClean="0"/>
              <a:t>side-effects</a:t>
            </a:r>
            <a:endParaRPr lang="es-ES" dirty="0" smtClean="0"/>
          </a:p>
          <a:p>
            <a:pPr lvl="1"/>
            <a:r>
              <a:rPr lang="es-ES" dirty="0" smtClean="0"/>
              <a:t>Una función siempre devuelve el mismo resultado</a:t>
            </a:r>
          </a:p>
          <a:p>
            <a:r>
              <a:rPr lang="es-ES" dirty="0" smtClean="0"/>
              <a:t>Estilo declarativo</a:t>
            </a:r>
          </a:p>
          <a:p>
            <a:r>
              <a:rPr lang="es-ES" dirty="0" smtClean="0"/>
              <a:t>Expresiones lambda</a:t>
            </a:r>
          </a:p>
          <a:p>
            <a:r>
              <a:rPr lang="es-ES" dirty="0" smtClean="0"/>
              <a:t>Mejor concurrencia</a:t>
            </a:r>
          </a:p>
          <a:p>
            <a:r>
              <a:rPr lang="es-ES" dirty="0" smtClean="0"/>
              <a:t>Lenguajes especializados : F#, </a:t>
            </a:r>
            <a:r>
              <a:rPr lang="es-ES" dirty="0" err="1" smtClean="0"/>
              <a:t>Haskell</a:t>
            </a:r>
            <a:endParaRPr lang="es-E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gramación</a:t>
            </a:r>
            <a:r>
              <a:rPr lang="en-U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al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5355312"/>
          </a:xfrm>
        </p:spPr>
        <p:txBody>
          <a:bodyPr/>
          <a:lstStyle/>
          <a:p>
            <a:r>
              <a:rPr lang="es-ES" dirty="0" smtClean="0"/>
              <a:t>No es un lenguaje funcional puro</a:t>
            </a:r>
          </a:p>
          <a:p>
            <a:pPr lvl="1"/>
            <a:r>
              <a:rPr lang="es-ES" dirty="0" smtClean="0"/>
              <a:t>Evaluación perezosa</a:t>
            </a:r>
          </a:p>
          <a:p>
            <a:pPr lvl="1"/>
            <a:r>
              <a:rPr lang="es-ES" dirty="0" smtClean="0"/>
              <a:t>Inmutabilidad</a:t>
            </a:r>
          </a:p>
          <a:p>
            <a:r>
              <a:rPr lang="es-ES" dirty="0" smtClean="0"/>
              <a:t>Es </a:t>
            </a:r>
            <a:r>
              <a:rPr lang="es-ES" dirty="0" err="1" smtClean="0"/>
              <a:t>multiparadigma</a:t>
            </a:r>
            <a:endParaRPr lang="es-ES" dirty="0"/>
          </a:p>
          <a:p>
            <a:pPr lvl="1"/>
            <a:r>
              <a:rPr lang="es-ES" dirty="0" smtClean="0"/>
              <a:t>Imperativo</a:t>
            </a:r>
          </a:p>
          <a:p>
            <a:pPr lvl="1"/>
            <a:r>
              <a:rPr lang="es-ES" dirty="0" smtClean="0"/>
              <a:t>Orientado a objetos</a:t>
            </a:r>
          </a:p>
          <a:p>
            <a:pPr lvl="1"/>
            <a:r>
              <a:rPr lang="es-ES" dirty="0" smtClean="0"/>
              <a:t>Funcional</a:t>
            </a:r>
          </a:p>
          <a:p>
            <a:r>
              <a:rPr lang="es-ES" dirty="0" smtClean="0"/>
              <a:t>Podemos usar en cada momento el estilo mas adecuado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 JS un lenguaje funcional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61875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506199" cy="3791807"/>
          </a:xfrm>
          <a:solidFill>
            <a:srgbClr val="202020">
              <a:alpha val="70000"/>
            </a:srgbClr>
          </a:solidFill>
          <a:ln w="12700" cap="sq" cmpd="thickThin">
            <a:solidFill>
              <a:schemeClr val="tx1"/>
            </a:solidFill>
            <a:bevel/>
          </a:ln>
        </p:spPr>
        <p:txBody>
          <a:bodyPr/>
          <a:lstStyle/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Las funciones son de primera clase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Times New Roman" panose="02020603050405020304" pitchFamily="18" charset="0"/>
              </a:rPr>
              <a:t>suma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Y también son de orden superior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f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f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Times New Roman" panose="02020603050405020304" pitchFamily="18" charset="0"/>
              </a:rPr>
              <a:t>suma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Times New Roman" panose="02020603050405020304" pitchFamily="18" charset="0"/>
              </a:rPr>
              <a:t>//</a:t>
            </a:r>
            <a:r>
              <a:rPr lang="en-US" dirty="0" smtClean="0">
                <a:solidFill>
                  <a:srgbClr val="57A64A"/>
                </a:solidFill>
                <a:ea typeface="Times New Roman" panose="02020603050405020304" pitchFamily="18" charset="0"/>
              </a:rPr>
              <a:t>3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003092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897062"/>
            <a:ext cx="11887200" cy="3741217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Forma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 dice: 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41624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7200" cy="38549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Pedro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ilt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ilte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31957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7ABC3"/>
            </a:gs>
            <a:gs pos="100000">
              <a:srgbClr val="FCF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9566" cy="306442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1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Mensajes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ndex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rray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=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})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Reduce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58859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50000"/>
              </a:schemeClr>
            </a:gs>
            <a:gs pos="100000">
              <a:schemeClr val="bg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8800" dirty="0" smtClean="0"/>
              <a:t>EcmaScript6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800" dirty="0" smtClean="0"/>
              <a:t>Coming soon  to a browser near you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5380037" y="3192462"/>
            <a:ext cx="53340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</a:t>
            </a:r>
            <a:endParaRPr lang="en-US" sz="2400" dirty="0" smtClean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647566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84276"/>
            </a:gs>
            <a:gs pos="100000">
              <a:srgbClr val="FEE78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968" y="1668462"/>
            <a:ext cx="1136446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fo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= 2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eclaracion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b=2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2, b=1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0,b=0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Le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new </a:t>
            </a:r>
            <a:r>
              <a:rPr lang="es-ES" b="1" strike="sngStrike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black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va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972261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12a172fe-0250-434a-85cf-03b10810c5e5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elements/1.1/"/>
    <ds:schemaRef ds:uri="230e9df3-be65-4c73-a93b-d1236ebd677e"/>
    <ds:schemaRef ds:uri="http://www.w3.org/XML/1998/namespace"/>
    <ds:schemaRef ds:uri="http://schemas.microsoft.com/sharepoint/v3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549</TotalTime>
  <Words>432</Words>
  <Application>Microsoft Office PowerPoint</Application>
  <PresentationFormat>Custom</PresentationFormat>
  <Paragraphs>163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2" baseType="lpstr">
      <vt:lpstr>Arial</vt:lpstr>
      <vt:lpstr>Avenir LT Pro 45 Book</vt:lpstr>
      <vt:lpstr>Calibri</vt:lpstr>
      <vt:lpstr>Consolas</vt:lpstr>
      <vt:lpstr>ＭＳ Ｐゴシック</vt:lpstr>
      <vt:lpstr>Segoe UI</vt:lpstr>
      <vt:lpstr>Segoe UI Light</vt:lpstr>
      <vt:lpstr>Times New Roman</vt:lpstr>
      <vt:lpstr>5-30629_Build_Template_WHITE</vt:lpstr>
      <vt:lpstr>1_5-30629_Build_Template_DARK BLUE</vt:lpstr>
      <vt:lpstr>1_5-30629_Build_Template_WHITE</vt:lpstr>
      <vt:lpstr>3_5-30629_Build_Template_WHITE</vt:lpstr>
      <vt:lpstr>think-cell Slide</vt:lpstr>
      <vt:lpstr>PowerPoint Presentation</vt:lpstr>
      <vt:lpstr>Programación funcional</vt:lpstr>
      <vt:lpstr>Es JS un lenguaje funcional?</vt:lpstr>
      <vt:lpstr>Funciones</vt:lpstr>
      <vt:lpstr>Trabajando con datos: Map</vt:lpstr>
      <vt:lpstr>Trabajando con datos: Filter</vt:lpstr>
      <vt:lpstr>Trabajando con datos: Reduce</vt:lpstr>
      <vt:lpstr>EcmaScript6 Coming soon  to a browser near you</vt:lpstr>
      <vt:lpstr>Let is the new black var</vt:lpstr>
      <vt:lpstr>Const</vt:lpstr>
      <vt:lpstr>Spread / Rest</vt:lpstr>
      <vt:lpstr>Spread / Rest</vt:lpstr>
      <vt:lpstr>Argumentos por defecto</vt:lpstr>
      <vt:lpstr>Argumentos por defecto</vt:lpstr>
      <vt:lpstr>Asignación desestructurada</vt:lpstr>
      <vt:lpstr>Funciones lambda con =&gt;</vt:lpstr>
      <vt:lpstr>For of</vt:lpstr>
      <vt:lpstr>PowerPoint Presentation</vt:lpstr>
      <vt:lpstr>Advanced JavaScript resource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74</cp:revision>
  <dcterms:created xsi:type="dcterms:W3CDTF">2015-04-29T17:53:46Z</dcterms:created>
  <dcterms:modified xsi:type="dcterms:W3CDTF">2015-07-21T19:5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